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5458" r:id="rId2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87C5"/>
    <a:srgbClr val="72D3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1" d="100"/>
          <a:sy n="51" d="100"/>
        </p:scale>
        <p:origin x="1256" y="2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3F4D15-4A76-4245-8807-EE110EB35E17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20277D-2E62-4088-B10F-96A9B14541AE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410664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57C527-D302-0D4C-8820-8247C93BFD8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142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lue dot pattern on a black background&#10;&#10;AI-generated content may be incorrect.">
            <a:extLst>
              <a:ext uri="{FF2B5EF4-FFF2-40B4-BE49-F238E27FC236}">
                <a16:creationId xmlns:a16="http://schemas.microsoft.com/office/drawing/2014/main" id="{8E37ED6A-DCC7-5254-3197-93017BFF3F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22" r="24566" b="8956"/>
          <a:stretch/>
        </p:blipFill>
        <p:spPr>
          <a:xfrm rot="16200000">
            <a:off x="5715000" y="381000"/>
            <a:ext cx="6858000" cy="609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D05DE1-3C2F-0C56-E14B-C8D1CA8055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EB0C873-E76D-38E1-3918-7130B491A5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90EB89-50B3-327E-35F3-995E210035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085915-B5A7-992A-9263-9FDE4E297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91BA4-442F-B7E1-4215-FAE0637CA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  <p:pic>
        <p:nvPicPr>
          <p:cNvPr id="8" name="Picture 7" descr="A white square with black text&#10;&#10;AI-generated content may be incorrect.">
            <a:extLst>
              <a:ext uri="{FF2B5EF4-FFF2-40B4-BE49-F238E27FC236}">
                <a16:creationId xmlns:a16="http://schemas.microsoft.com/office/drawing/2014/main" id="{94456D90-F774-0C86-6222-AA14A6990F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090" y="261568"/>
            <a:ext cx="1318885" cy="464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463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7C64C-E80D-61F6-567B-38E439473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A54335-1861-A6A5-67F2-568FC4A581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vert27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77AF11-8F76-2610-91B4-496B60115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09C35E-E15D-822E-672F-593F68FAF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4E49AD-0E50-ADAE-6BD6-7828FE29F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09359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D14A3D-6FAD-9BBE-E534-F24BAB6E86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 rot="10800000">
            <a:off x="831574" y="834887"/>
            <a:ext cx="2628900" cy="53420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B03B22F-C02E-1A23-8E07-4840B320A2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 rot="10800000">
            <a:off x="3581400" y="834887"/>
            <a:ext cx="7734300" cy="53420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E119C2-A020-E717-8F72-E8FCBF8EC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FB2D40-C537-6496-7D3B-928023AE5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0407A9-5C11-6C67-C751-D22D818EDA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22340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IQV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sentence case</a:t>
            </a:r>
          </a:p>
        </p:txBody>
      </p:sp>
      <p:sp>
        <p:nvSpPr>
          <p:cNvPr id="53" name="Footer Placeholder 4">
            <a:extLst>
              <a:ext uri="{FF2B5EF4-FFF2-40B4-BE49-F238E27FC236}">
                <a16:creationId xmlns:a16="http://schemas.microsoft.com/office/drawing/2014/main" id="{B43D20F7-04AA-0E4D-91D5-5DB9ECAF95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9285484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EA968B8-FA3A-4F62-92E8-E94086C1347B}"/>
              </a:ext>
            </a:extLst>
          </p:cNvPr>
          <p:cNvSpPr txBox="1">
            <a:spLocks/>
          </p:cNvSpPr>
          <p:nvPr/>
        </p:nvSpPr>
        <p:spPr bwMode="white">
          <a:xfrm>
            <a:off x="11723254" y="6544746"/>
            <a:ext cx="353088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12220C1-1EAE-C14B-89F3-9751E5993B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376299" y="6535995"/>
            <a:ext cx="1143000" cy="21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252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CCA31F-619E-E294-5788-3FEA6A836A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2BA238-BE03-41E9-E534-FF9F4B0B60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231C242-5486-B033-CE21-925FFE86A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B0347E-37B8-47EB-1CDA-F8541E68CF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7654A1-CDD5-AE9F-29B2-BF5C058D8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86896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F1DA9C-D7F0-4993-D745-EA6533314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6B09AA-8C8B-E36C-D32B-EA83AB7428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D8C990-9441-45B4-01FA-38BA66D43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18D84-CD66-56A0-6BDD-AB3E6EC79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A5C719-94DB-F46E-B7AF-A7EA19852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96011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69DF69-53C0-435C-1D69-B081B2B92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AF6988-CF2B-D3C0-219C-FCDCF90EBF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03FF15-FAE6-5E7E-B9DD-EE4B489928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325F71-099E-FD9F-A6BC-B313FB7ED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A3FF47-91C1-9209-98D9-66E725680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19C8C3C-FDE8-110C-8322-035C90479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496240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7AC3F5-EB62-E3CB-981B-915134840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66776"/>
            <a:ext cx="10515600" cy="82391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1B854D-9354-F527-62C4-F8CE57C768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179757B-23EE-3E0A-F539-0D04493433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B4775A5-4752-EE4E-06D1-B4E8B7888E3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ED17B47-87F4-3615-318C-249379C9E1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BB18EB2-89BA-CC0A-AA69-CB8DCA64C8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200FA89-DB9F-5E08-D495-F6AF966CFB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E00C52-0B8A-317A-875E-CB74B055CE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78752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BC66C6-78CE-369B-1E4E-2DDDEC1E5D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BAAD37-1F40-F925-21FC-46CBB81BDA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6B5F8CE-4A37-245C-D48E-7464444184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FC8655-1E20-3F0F-E3B5-A80D58E86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6058128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380F1D-AF13-8EA2-2563-0072B1A214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AD9FFF-7F0B-FD3E-F506-72C7A9B84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F0DC6A-9A1E-09A2-69E1-463AEFC08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1091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451B4-6B3D-55DF-173C-1B73CB59C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s-E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CA3389-D0AC-7F77-EF2C-A3C1DB3091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EB0D11-11F2-531A-B83E-3A9BA21F81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5A391F-E8A0-C545-4119-8D1A28C6E0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8E1E8E4-A181-CF0E-3947-1FD2A8DFA6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C5183B-8371-DFEE-A40C-0307AB5B3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14944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E0010F-38C7-29E6-8CA9-8C80DC512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987424"/>
            <a:ext cx="3932237" cy="1069975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1025CC-B8CB-1AE1-F4A2-1FC1EBFF72E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8CE610-068B-DA1E-2C41-C8112FAD8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C8BE26-F7DE-D435-6823-F975B62E8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55B456-3BAC-292E-C730-5563A29265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78DCE2-E762-42E8-3AF0-2EED0BA93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02758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ue dot pattern on a black background&#10;&#10;AI-generated content may be incorrect.">
            <a:extLst>
              <a:ext uri="{FF2B5EF4-FFF2-40B4-BE49-F238E27FC236}">
                <a16:creationId xmlns:a16="http://schemas.microsoft.com/office/drawing/2014/main" id="{A5C99249-F916-A3CC-5E49-C406FF136306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alphaModFix amt="85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7822" r="24566" b="8956"/>
          <a:stretch/>
        </p:blipFill>
        <p:spPr>
          <a:xfrm rot="16200000">
            <a:off x="5715000" y="381000"/>
            <a:ext cx="6858000" cy="6096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777AA24-2858-CEAC-0164-55E125D9BF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21972"/>
            <a:ext cx="10515600" cy="7687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C37AFF-5301-8736-72C1-AEE6D9C77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F72CC6-EA58-18EC-E93B-14D4F2D2D3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BDD0821-DE5A-475A-96B2-CCB8148FB23F}" type="datetimeFigureOut">
              <a:rPr lang="es-ES" smtClean="0"/>
              <a:t>14/04/2025</a:t>
            </a:fld>
            <a:endParaRPr lang="es-E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14E842-98DE-D2D4-AB37-BCAEB896FC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r>
              <a:rPr lang="es-ES" dirty="0"/>
              <a:t>Formación IA: Casos prácticos con foco en oncologí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4AF60B-1D80-7532-7CFD-7B7E89B154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E5657D9A-1699-4767-A6D1-A3FADE4D8B15}" type="slidenum">
              <a:rPr lang="es-ES" smtClean="0"/>
              <a:t>‹#›</a:t>
            </a:fld>
            <a:endParaRPr lang="es-ES"/>
          </a:p>
        </p:txBody>
      </p:sp>
      <p:pic>
        <p:nvPicPr>
          <p:cNvPr id="10" name="Picture 9" descr="A white letters on a black background&#10;&#10;AI-generated content may be incorrect.">
            <a:extLst>
              <a:ext uri="{FF2B5EF4-FFF2-40B4-BE49-F238E27FC236}">
                <a16:creationId xmlns:a16="http://schemas.microsoft.com/office/drawing/2014/main" id="{853F75D3-8698-6B33-4E89-17A230F6BEE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8747" y="228600"/>
            <a:ext cx="2112385" cy="464771"/>
          </a:xfrm>
          <a:prstGeom prst="rect">
            <a:avLst/>
          </a:prstGeom>
        </p:spPr>
      </p:pic>
      <p:pic>
        <p:nvPicPr>
          <p:cNvPr id="14" name="Picture 13" descr="A white text on a black background&#10;&#10;AI-generated content may be incorrect.">
            <a:extLst>
              <a:ext uri="{FF2B5EF4-FFF2-40B4-BE49-F238E27FC236}">
                <a16:creationId xmlns:a16="http://schemas.microsoft.com/office/drawing/2014/main" id="{7A7E3887-6CD1-CE10-BDDA-7AD350FBD29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025" y="315911"/>
            <a:ext cx="1921672" cy="343791"/>
          </a:xfrm>
          <a:prstGeom prst="rect">
            <a:avLst/>
          </a:prstGeom>
        </p:spPr>
      </p:pic>
      <p:pic>
        <p:nvPicPr>
          <p:cNvPr id="11" name="Picture 10" descr="A white square with black text&#10;&#10;AI-generated content may be incorrect.">
            <a:extLst>
              <a:ext uri="{FF2B5EF4-FFF2-40B4-BE49-F238E27FC236}">
                <a16:creationId xmlns:a16="http://schemas.microsoft.com/office/drawing/2014/main" id="{B2155D7C-4505-4E74-E1BB-5441599D0FCA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9090" y="261568"/>
            <a:ext cx="1318885" cy="464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4006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9B3E88B-2525-5F11-5ED6-9F1E872C5D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4" imgH="403" progId="TCLayout.ActiveDocument.1">
                  <p:embed/>
                </p:oleObj>
              </mc:Choice>
              <mc:Fallback>
                <p:oleObj name="think-cell Slide" r:id="rId4" imgW="404" imgH="40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B3E88B-2525-5F11-5ED6-9F1E872C5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le 52">
            <a:extLst>
              <a:ext uri="{FF2B5EF4-FFF2-40B4-BE49-F238E27FC236}">
                <a16:creationId xmlns:a16="http://schemas.microsoft.com/office/drawing/2014/main" id="{48AC36FF-BA7C-4440-8586-CF4E8150C0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694" y="1008451"/>
            <a:ext cx="11328412" cy="768263"/>
          </a:xfrm>
        </p:spPr>
        <p:txBody>
          <a:bodyPr vert="horz"/>
          <a:lstStyle/>
          <a:p>
            <a:r>
              <a:rPr lang="es-ES" sz="2400" dirty="0"/>
              <a:t>Título del caso de uso de inteligencia artificial </a:t>
            </a:r>
            <a:r>
              <a:rPr lang="es-ES" sz="2400" b="0" dirty="0"/>
              <a:t>(generativa, procesamiento de lenguaje natural, modelo predictivo, identificación de pacientes…)</a:t>
            </a:r>
          </a:p>
        </p:txBody>
      </p:sp>
      <p:sp>
        <p:nvSpPr>
          <p:cNvPr id="91" name="Text Placeholder 7">
            <a:extLst>
              <a:ext uri="{FF2B5EF4-FFF2-40B4-BE49-F238E27FC236}">
                <a16:creationId xmlns:a16="http://schemas.microsoft.com/office/drawing/2014/main" id="{2692EDDA-3343-4CBF-926D-DC56D7808106}"/>
              </a:ext>
            </a:extLst>
          </p:cNvPr>
          <p:cNvSpPr txBox="1">
            <a:spLocks/>
          </p:cNvSpPr>
          <p:nvPr/>
        </p:nvSpPr>
        <p:spPr>
          <a:xfrm>
            <a:off x="424869" y="4160543"/>
            <a:ext cx="5109494" cy="301621"/>
          </a:xfrm>
          <a:prstGeom prst="rect">
            <a:avLst/>
          </a:prstGeom>
          <a:noFill/>
        </p:spPr>
        <p:txBody>
          <a:bodyPr wrap="square" tIns="27432" bIns="27432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2000" b="0" i="0" kern="1200">
                <a:solidFill>
                  <a:schemeClr val="tx2"/>
                </a:solidFill>
                <a:latin typeface="+mj-lt"/>
                <a:ea typeface="ＭＳ Ｐゴシック" charset="-128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72D3E3"/>
                </a:solidFill>
                <a:effectLst/>
                <a:uLnTx/>
                <a:uFillTx/>
                <a:latin typeface="Arial" panose="020B0604020202020204"/>
                <a:ea typeface="ＭＳ Ｐゴシック" charset="-128"/>
                <a:cs typeface="+mn-cs"/>
              </a:rPr>
              <a:t>Resultados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B4178DFC-6BE5-49F4-926C-1BF890DC5911}"/>
              </a:ext>
            </a:extLst>
          </p:cNvPr>
          <p:cNvCxnSpPr>
            <a:cxnSpLocks/>
          </p:cNvCxnSpPr>
          <p:nvPr/>
        </p:nvCxnSpPr>
        <p:spPr>
          <a:xfrm>
            <a:off x="424870" y="4561970"/>
            <a:ext cx="11259130" cy="0"/>
          </a:xfrm>
          <a:prstGeom prst="line">
            <a:avLst/>
          </a:prstGeom>
          <a:ln w="76200" cap="rnd">
            <a:solidFill>
              <a:srgbClr val="72D3E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5A196760-7E6D-4406-5BBD-BC056796CEAD}"/>
              </a:ext>
            </a:extLst>
          </p:cNvPr>
          <p:cNvSpPr txBox="1">
            <a:spLocks/>
          </p:cNvSpPr>
          <p:nvPr/>
        </p:nvSpPr>
        <p:spPr>
          <a:xfrm>
            <a:off x="6185450" y="1885077"/>
            <a:ext cx="5486400" cy="301621"/>
          </a:xfrm>
          <a:prstGeom prst="rect">
            <a:avLst/>
          </a:prstGeom>
          <a:noFill/>
        </p:spPr>
        <p:txBody>
          <a:bodyPr wrap="square" tIns="27432" bIns="27432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2000" b="0" i="0" kern="1200">
                <a:solidFill>
                  <a:schemeClr val="tx2"/>
                </a:solidFill>
                <a:latin typeface="+mj-lt"/>
                <a:ea typeface="ＭＳ Ｐゴシック" charset="-128"/>
                <a:cs typeface="+mn-cs"/>
              </a:defRPr>
            </a:lvl1pPr>
            <a:lvl2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2pPr>
            <a:lvl3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3pPr>
            <a:lvl4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4pPr>
            <a:lvl5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Tx/>
              <a:buNone/>
              <a:defRPr sz="1600" b="0" i="1" kern="1200">
                <a:solidFill>
                  <a:schemeClr val="accent6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ＭＳ Ｐゴシック" charset="-128"/>
                <a:cs typeface="+mn-cs"/>
              </a:rPr>
              <a:t>Metodología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3857D2EB-1A4C-DCDE-E35F-DAF2EA43AD8D}"/>
              </a:ext>
            </a:extLst>
          </p:cNvPr>
          <p:cNvCxnSpPr>
            <a:cxnSpLocks/>
          </p:cNvCxnSpPr>
          <p:nvPr/>
        </p:nvCxnSpPr>
        <p:spPr>
          <a:xfrm>
            <a:off x="6209705" y="2285013"/>
            <a:ext cx="5486400" cy="0"/>
          </a:xfrm>
          <a:prstGeom prst="line">
            <a:avLst/>
          </a:prstGeom>
          <a:ln w="76200" cap="rnd">
            <a:solidFill>
              <a:schemeClr val="tx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431D68F1-11F1-D90F-E77A-3DF6A1855023}"/>
              </a:ext>
            </a:extLst>
          </p:cNvPr>
          <p:cNvSpPr txBox="1">
            <a:spLocks/>
          </p:cNvSpPr>
          <p:nvPr/>
        </p:nvSpPr>
        <p:spPr>
          <a:xfrm>
            <a:off x="424868" y="1911203"/>
            <a:ext cx="5486400" cy="334583"/>
          </a:xfrm>
          <a:prstGeom prst="rect">
            <a:avLst/>
          </a:prstGeom>
          <a:noFill/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ES" sz="1600" b="1" i="0" u="none" strike="noStrike" kern="1200" cap="none" spc="0" normalizeH="0" baseline="0" dirty="0">
                <a:ln>
                  <a:noFill/>
                </a:ln>
                <a:solidFill>
                  <a:srgbClr val="0A87C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tuación y objetivo del caso de uso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D0D3744-965F-014B-4842-368F78E28CF1}"/>
              </a:ext>
            </a:extLst>
          </p:cNvPr>
          <p:cNvCxnSpPr/>
          <p:nvPr/>
        </p:nvCxnSpPr>
        <p:spPr>
          <a:xfrm>
            <a:off x="424870" y="2288495"/>
            <a:ext cx="5486400" cy="0"/>
          </a:xfrm>
          <a:prstGeom prst="line">
            <a:avLst/>
          </a:prstGeom>
          <a:ln w="76200" cap="rnd">
            <a:solidFill>
              <a:srgbClr val="0A87C5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9682301-279F-BB02-C145-0B8049C13FD8}"/>
              </a:ext>
            </a:extLst>
          </p:cNvPr>
          <p:cNvSpPr txBox="1">
            <a:spLocks/>
          </p:cNvSpPr>
          <p:nvPr/>
        </p:nvSpPr>
        <p:spPr>
          <a:xfrm>
            <a:off x="6185450" y="2427888"/>
            <a:ext cx="5486400" cy="1732653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en-US"/>
            </a:defPPr>
            <a:lvl1pPr marL="230188" indent="-230188" fontAlgn="base">
              <a:spcBef>
                <a:spcPct val="20000"/>
              </a:spcBef>
              <a:spcAft>
                <a:spcPts val="300"/>
              </a:spcAft>
              <a:buFont typeface="Arial" charset="0"/>
              <a:buChar char="•"/>
              <a:tabLst>
                <a:tab pos="4283075" algn="l"/>
              </a:tabLst>
              <a:defRPr sz="1400">
                <a:solidFill>
                  <a:srgbClr val="414343"/>
                </a:solidFill>
                <a:ea typeface="Noto Sans" panose="020B0502040504020204" pitchFamily="34"/>
                <a:cs typeface="Noto Sans" panose="020B0502040504020204" pitchFamily="34"/>
              </a:defRPr>
            </a:lvl1pPr>
            <a:lvl2pPr indent="-234950" fontAlgn="base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>
                <a:solidFill>
                  <a:srgbClr val="414343"/>
                </a:solidFill>
                <a:ea typeface="ＭＳ Ｐゴシック" charset="-128"/>
              </a:defRPr>
            </a:lvl2pPr>
            <a:lvl3pPr marL="679450" indent="-222250" fontAlgn="base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>
                <a:solidFill>
                  <a:srgbClr val="414343"/>
                </a:solidFill>
                <a:ea typeface="ＭＳ Ｐゴシック" charset="-128"/>
              </a:defRPr>
            </a:lvl3pPr>
            <a:lvl4pPr marL="914400" indent="-23495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rgbClr val="414343"/>
                </a:solidFill>
                <a:ea typeface="ＭＳ Ｐゴシック" charset="-128"/>
              </a:defRPr>
            </a:lvl4pPr>
            <a:lvl5pPr marL="1144588" indent="-22225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414343"/>
                </a:solidFill>
                <a:ea typeface="ＭＳ Ｐゴシック" charset="-128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es-ES" sz="1200" dirty="0">
                <a:solidFill>
                  <a:schemeClr val="tx1"/>
                </a:solidFill>
              </a:rPr>
              <a:t>Explicar brevemente los datos con los que se construyó el caso de uso y la metodología de IA aplicada 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49FBC58-4EC2-1475-CA2E-7E970AB7AC27}"/>
              </a:ext>
            </a:extLst>
          </p:cNvPr>
          <p:cNvSpPr txBox="1">
            <a:spLocks/>
          </p:cNvSpPr>
          <p:nvPr/>
        </p:nvSpPr>
        <p:spPr>
          <a:xfrm>
            <a:off x="424868" y="2402381"/>
            <a:ext cx="5486400" cy="1715452"/>
          </a:xfrm>
          <a:prstGeom prst="rect">
            <a:avLst/>
          </a:prstGeom>
        </p:spPr>
        <p:txBody>
          <a:bodyPr>
            <a:normAutofit/>
          </a:bodyPr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  <a:tabLst>
                <a:tab pos="4283075" algn="l"/>
              </a:tabLst>
            </a:pPr>
            <a:r>
              <a:rPr lang="es-ES" sz="1200" dirty="0">
                <a:solidFill>
                  <a:schemeClr val="tx1"/>
                </a:solidFill>
                <a:ea typeface="Noto Sans" panose="020B0502040504020204" pitchFamily="34"/>
                <a:cs typeface="Noto Sans" panose="020B0502040504020204" pitchFamily="34"/>
              </a:rPr>
              <a:t>Explicar brevemente el por qué se desarrolló el caso de uso y qué objetivo se perseguía.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56AC238-1935-05E5-2CCB-55B4EE65970C}"/>
              </a:ext>
            </a:extLst>
          </p:cNvPr>
          <p:cNvSpPr txBox="1">
            <a:spLocks/>
          </p:cNvSpPr>
          <p:nvPr/>
        </p:nvSpPr>
        <p:spPr>
          <a:xfrm>
            <a:off x="563512" y="4715036"/>
            <a:ext cx="5409816" cy="358716"/>
          </a:xfrm>
          <a:prstGeom prst="rect">
            <a:avLst/>
          </a:prstGeom>
        </p:spPr>
        <p:txBody>
          <a:bodyPr>
            <a:normAutofit fontScale="92500"/>
          </a:bodyPr>
          <a:lstStyle>
            <a:defPPr>
              <a:defRPr lang="en-US"/>
            </a:defPPr>
            <a:lvl1pPr marL="230188" indent="-230188" fontAlgn="base">
              <a:spcBef>
                <a:spcPct val="20000"/>
              </a:spcBef>
              <a:spcAft>
                <a:spcPts val="300"/>
              </a:spcAft>
              <a:buFont typeface="Arial" charset="0"/>
              <a:buChar char="•"/>
              <a:tabLst>
                <a:tab pos="4283075" algn="l"/>
              </a:tabLst>
              <a:defRPr sz="1400">
                <a:solidFill>
                  <a:srgbClr val="414343"/>
                </a:solidFill>
                <a:ea typeface="Noto Sans" panose="020B0502040504020204" pitchFamily="34"/>
                <a:cs typeface="Noto Sans" panose="020B0502040504020204" pitchFamily="34"/>
              </a:defRPr>
            </a:lvl1pPr>
            <a:lvl2pPr indent="-234950" fontAlgn="base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>
                <a:solidFill>
                  <a:srgbClr val="414343"/>
                </a:solidFill>
                <a:ea typeface="ＭＳ Ｐゴシック" charset="-128"/>
              </a:defRPr>
            </a:lvl2pPr>
            <a:lvl3pPr marL="679450" indent="-222250" fontAlgn="base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>
                <a:solidFill>
                  <a:srgbClr val="414343"/>
                </a:solidFill>
                <a:ea typeface="ＭＳ Ｐゴシック" charset="-128"/>
              </a:defRPr>
            </a:lvl3pPr>
            <a:lvl4pPr marL="914400" indent="-23495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>
                <a:solidFill>
                  <a:srgbClr val="414343"/>
                </a:solidFill>
                <a:ea typeface="ＭＳ Ｐゴシック" charset="-128"/>
              </a:defRPr>
            </a:lvl4pPr>
            <a:lvl5pPr marL="1144588" indent="-22225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>
                <a:solidFill>
                  <a:srgbClr val="414343"/>
                </a:solidFill>
                <a:ea typeface="ＭＳ Ｐゴシック" charset="-128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s-ES" dirty="0">
                <a:solidFill>
                  <a:schemeClr val="tx1"/>
                </a:solidFill>
              </a:rPr>
              <a:t>Utilizar figuras, tablas o texto para presentar los resultados conseguidos.</a:t>
            </a:r>
          </a:p>
        </p:txBody>
      </p:sp>
    </p:spTree>
    <p:extLst>
      <p:ext uri="{BB962C8B-B14F-4D97-AF65-F5344CB8AC3E}">
        <p14:creationId xmlns:p14="http://schemas.microsoft.com/office/powerpoint/2010/main" val="162698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18</TotalTime>
  <Words>81</Words>
  <Application>Microsoft Office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ptos Display</vt:lpstr>
      <vt:lpstr>Arial</vt:lpstr>
      <vt:lpstr>Arial Narrow</vt:lpstr>
      <vt:lpstr>Noto Sans</vt:lpstr>
      <vt:lpstr>Office Theme</vt:lpstr>
      <vt:lpstr>think-cell Slide</vt:lpstr>
      <vt:lpstr>Título del caso de uso de inteligencia artificial (generativa, procesamiento de lenguaje natural, modelo predictivo, identificación de pacientes…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Hernández, Paula</dc:creator>
  <cp:lastModifiedBy>Hernández, Paula</cp:lastModifiedBy>
  <cp:revision>3</cp:revision>
  <dcterms:created xsi:type="dcterms:W3CDTF">2025-04-02T09:47:16Z</dcterms:created>
  <dcterms:modified xsi:type="dcterms:W3CDTF">2025-04-14T14:00:52Z</dcterms:modified>
</cp:coreProperties>
</file>